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94" r:id="rId2"/>
    <p:sldId id="295" r:id="rId3"/>
    <p:sldId id="297" r:id="rId4"/>
    <p:sldId id="298" r:id="rId5"/>
    <p:sldId id="291" r:id="rId6"/>
    <p:sldId id="284" r:id="rId7"/>
    <p:sldId id="274" r:id="rId8"/>
  </p:sldIdLst>
  <p:sldSz cx="9144000" cy="6858000" type="screen4x3"/>
  <p:notesSz cx="6797675" cy="9872663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  <a:srgbClr val="66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06799F8-075E-4A3A-A7F6-7FBC6576F1A4}" styleName="Tema Uygulanmış Stil 2 - Vurgu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FD0F851-EC5A-4D38-B0AD-8093EC10F338}" styleName="Açık Stil 1 - Vurgu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Koyu Stil 1 - Vurgu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Koyu Stil 1 - Vurgu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Koyu Stil 1 - Vurgu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Orta Stil 3 - Vurgu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7AC3CCA-C797-4891-BE02-D94E43425B78}" styleName="Orta Stil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Orta Stil 4 - Vurgu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Stil Yok, Tablo Kılavuz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til Yok, Kılavuz Yo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Açık Sti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7670" autoAdjust="0"/>
  </p:normalViewPr>
  <p:slideViewPr>
    <p:cSldViewPr>
      <p:cViewPr varScale="1">
        <p:scale>
          <a:sx n="87" d="100"/>
          <a:sy n="87" d="100"/>
        </p:scale>
        <p:origin x="1092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r">
              <a:defRPr sz="1200"/>
            </a:lvl1pPr>
          </a:lstStyle>
          <a:p>
            <a:fld id="{E97D8D04-8981-4AE4-B55B-41189C458C08}" type="datetimeFigureOut">
              <a:rPr lang="tr-TR" smtClean="0"/>
              <a:pPr/>
              <a:t>1.03.2018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177925" y="1233488"/>
            <a:ext cx="444182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66" tIns="45583" rIns="91166" bIns="45583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79768" y="4751218"/>
            <a:ext cx="5438140" cy="3887362"/>
          </a:xfrm>
          <a:prstGeom prst="rect">
            <a:avLst/>
          </a:prstGeom>
        </p:spPr>
        <p:txBody>
          <a:bodyPr vert="horz" lIns="91166" tIns="45583" rIns="91166" bIns="45583" rtlCol="0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50443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r">
              <a:defRPr sz="1200"/>
            </a:lvl1pPr>
          </a:lstStyle>
          <a:p>
            <a:fld id="{E7A174EC-FB91-48F8-B92F-CDCA85A4AB9F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85299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21585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120312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 smtClean="0"/>
              <a:t>Asıl alt başlık stilini düzenlemek için tıklatın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3.2018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834502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3.2018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444906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3.2018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82817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3.2018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22826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3.2018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01711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3.2018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54272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3.2018</a:t>
            </a:fld>
            <a:endParaRPr lang="tr-TR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915932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3.2018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35641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3.2018</a:t>
            </a:fld>
            <a:endParaRPr lang="tr-TR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956051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3.2018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64351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3.2018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12380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809FF9-1140-4B00-BC12-214F505C40B3}" type="datetimeFigureOut">
              <a:rPr lang="tr-TR" smtClean="0"/>
              <a:pPr/>
              <a:t>1.03.2018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25118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gif"/><Relationship Id="rId3" Type="http://schemas.openxmlformats.org/officeDocument/2006/relationships/tags" Target="../tags/tag3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-540567" y="116632"/>
            <a:ext cx="9684568" cy="1472259"/>
            <a:chOff x="1199957" y="162167"/>
            <a:chExt cx="7699376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626382" y="182985"/>
              <a:ext cx="1001713" cy="638175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87333" y="232991"/>
              <a:ext cx="7045325" cy="538162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199957" y="360604"/>
              <a:ext cx="7632700" cy="2913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 smtClean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.C.</a:t>
              </a:r>
            </a:p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 smtClean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SMANİYE VALİLİĞİ</a:t>
              </a:r>
              <a:endParaRPr lang="en-US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Metin kutusu 10"/>
          <p:cNvSpPr txBox="1"/>
          <p:nvPr/>
        </p:nvSpPr>
        <p:spPr>
          <a:xfrm>
            <a:off x="33431" y="2489339"/>
            <a:ext cx="895731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36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KURUM ADI </a:t>
            </a:r>
          </a:p>
          <a:p>
            <a:pPr algn="ctr"/>
            <a:r>
              <a:rPr lang="tr-TR" sz="36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(ve varsa LOGO)</a:t>
            </a:r>
          </a:p>
          <a:p>
            <a:pPr algn="ctr"/>
            <a:endParaRPr lang="tr-TR" sz="3600" b="1" dirty="0" smtClean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/>
            <a:r>
              <a:rPr lang="tr-TR" sz="36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İL KOORDİNASYON KURULU</a:t>
            </a:r>
          </a:p>
          <a:p>
            <a:pPr algn="ctr"/>
            <a:r>
              <a:rPr lang="tr-TR" sz="36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I </a:t>
            </a:r>
            <a:r>
              <a:rPr lang="tr-TR" sz="36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DÖNEM TOPLANTISI        </a:t>
            </a:r>
          </a:p>
          <a:p>
            <a:pPr algn="ctr"/>
            <a:r>
              <a:rPr lang="tr-TR" sz="36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10.04.2018</a:t>
            </a:r>
            <a:endParaRPr lang="tr-TR" sz="36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257" y="270116"/>
            <a:ext cx="1142530" cy="1142113"/>
          </a:xfrm>
          <a:prstGeom prst="rect">
            <a:avLst/>
          </a:prstGeom>
        </p:spPr>
      </p:pic>
      <p:pic>
        <p:nvPicPr>
          <p:cNvPr id="14" name="Resim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076" y="215070"/>
            <a:ext cx="1286782" cy="1286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066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241537" y="380260"/>
            <a:ext cx="6438900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77888">
              <a:buClr>
                <a:srgbClr val="FF6600"/>
              </a:buClr>
              <a:defRPr/>
            </a:pPr>
            <a:endParaRPr lang="en-US" sz="2000" b="1" kern="0" dirty="0">
              <a:solidFill>
                <a:srgbClr val="FFFFFF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6313899"/>
              </p:ext>
            </p:extLst>
          </p:nvPr>
        </p:nvGraphicFramePr>
        <p:xfrm>
          <a:off x="51891" y="836712"/>
          <a:ext cx="8984608" cy="5190675"/>
        </p:xfrm>
        <a:graphic>
          <a:graphicData uri="http://schemas.openxmlformats.org/drawingml/2006/table">
            <a:tbl>
              <a:tblPr>
                <a:tableStyleId>{D03447BB-5D67-496B-8E87-E561075AD55C}</a:tableStyleId>
              </a:tblPr>
              <a:tblGrid>
                <a:gridCol w="28977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144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144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1447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1447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1447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1447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69815">
                <a:tc gridSpan="7"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  <a:r>
                        <a:rPr lang="tr-TR" sz="1400" b="1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.  </a:t>
                      </a:r>
                      <a:r>
                        <a:rPr lang="tr-TR" sz="14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ölge/İl</a:t>
                      </a:r>
                      <a:r>
                        <a:rPr lang="tr-TR" sz="1400" b="1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4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üdürlüğü</a:t>
                      </a:r>
                      <a:r>
                        <a:rPr lang="tr-TR" sz="12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9447">
                <a:tc gridSpan="7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rgbClr val="FF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rgbClr val="FF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ı-1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</a:t>
                      </a:r>
                      <a:r>
                        <a:rPr lang="tr-TR" sz="1100" b="1" u="none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adı-2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</a:t>
                      </a:r>
                      <a:r>
                        <a:rPr lang="tr-TR" sz="1100" b="1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-3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</a:t>
                      </a:r>
                      <a:r>
                        <a:rPr lang="tr-TR" sz="1100" b="1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-4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</a:t>
                      </a:r>
                      <a:r>
                        <a:rPr lang="tr-TR" sz="1100" b="1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-5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9447">
                <a:tc gridSpan="7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Genel Durumu</a:t>
                      </a:r>
                      <a:endParaRPr lang="tr-TR" sz="1100" b="1" i="0" u="none" strike="noStrike" dirty="0" smtClean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341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tarı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447">
                <a:tc gridSpan="7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Ödenek Durumları</a:t>
                      </a:r>
                      <a:endParaRPr lang="tr-TR" sz="1100" b="1" u="none" strike="noStrike" kern="1200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erkezi Bütçe </a:t>
                      </a:r>
                      <a:r>
                        <a:rPr lang="tr-TR" sz="11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sv-SE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2981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z Kaynak </a:t>
                      </a:r>
                      <a:r>
                        <a:rPr lang="tr-TR" sz="11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4659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Dış Kredi </a:t>
                      </a:r>
                      <a:r>
                        <a:rPr lang="tr-TR" sz="11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59930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ç Kredi </a:t>
                      </a:r>
                      <a:r>
                        <a:rPr lang="tr-TR" sz="11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21209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ibe </a:t>
                      </a:r>
                      <a:r>
                        <a:rPr lang="tr-TR" sz="11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15065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sv-SE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1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7</a:t>
                      </a:r>
                      <a:r>
                        <a:rPr lang="sv-SE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</a:t>
                      </a:r>
                      <a:r>
                        <a:rPr lang="sv-SE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ılı</a:t>
                      </a:r>
                      <a:r>
                        <a:rPr lang="tr-TR" sz="11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oplam Ödeneği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3682363"/>
                  </a:ext>
                </a:extLst>
              </a:tr>
              <a:tr h="250067">
                <a:tc gridSpan="7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</a:t>
                      </a:r>
                      <a:r>
                        <a:rPr lang="tr-TR" sz="11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arasal</a:t>
                      </a:r>
                      <a:r>
                        <a:rPr lang="tr-TR" sz="1100" b="1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çekleşme</a:t>
                      </a:r>
                      <a:r>
                        <a:rPr lang="tr-TR" sz="11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nceki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ıllar Harcamalar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2017 Yılı Harcaması (TL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4146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 Harcama</a:t>
                      </a:r>
                      <a:endParaRPr lang="tr-TR" sz="1100" u="none" strike="noStrike" kern="1200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arasal Gerçekleşme (Yüzde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32601">
                <a:tc gridSpan="7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Fiziki Gerçekleşme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aşlanamaya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hale 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şamasındaki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roje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arım 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alan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roje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Devam Eden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roje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iten 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r>
                        <a:rPr lang="tr-TR" sz="11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</a:tbl>
          </a:graphicData>
        </a:graphic>
      </p:graphicFrame>
      <p:sp>
        <p:nvSpPr>
          <p:cNvPr id="7" name="Yuvarlatılmış Dikdörtgen 6"/>
          <p:cNvSpPr/>
          <p:nvPr/>
        </p:nvSpPr>
        <p:spPr>
          <a:xfrm>
            <a:off x="1" y="44624"/>
            <a:ext cx="9144000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cı Kuruluş Dönem Raporu</a:t>
            </a:r>
          </a:p>
        </p:txBody>
      </p:sp>
      <p:sp>
        <p:nvSpPr>
          <p:cNvPr id="2" name="Metin kutusu 1"/>
          <p:cNvSpPr txBox="1"/>
          <p:nvPr/>
        </p:nvSpPr>
        <p:spPr>
          <a:xfrm>
            <a:off x="8096320" y="201265"/>
            <a:ext cx="899592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 smtClean="0"/>
              <a:t>EK-1</a:t>
            </a:r>
            <a:endParaRPr lang="tr-TR" dirty="0"/>
          </a:p>
        </p:txBody>
      </p:sp>
      <p:graphicFrame>
        <p:nvGraphicFramePr>
          <p:cNvPr id="8" name="Tablo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1698594"/>
              </p:ext>
            </p:extLst>
          </p:nvPr>
        </p:nvGraphicFramePr>
        <p:xfrm>
          <a:off x="78932" y="6093277"/>
          <a:ext cx="8948301" cy="3559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9483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55982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 </a:t>
                      </a:r>
                      <a:r>
                        <a:rPr lang="tr-TR" sz="1000" b="1" i="0" u="none" strike="noStrike" baseline="0" dirty="0" smtClean="0">
                          <a:solidFill>
                            <a:srgbClr val="00B0F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ları için; Tarım, Madencilik, İmalat, Ulaştırma, Turizm, Konut,  Eğitim, Sağlık, Diğer Kamu Hizmetleri kullanılacaktır. Kurumların görev alanlarına göre başlıklara sektör adlarını eklemeleri gerekmektedir.</a:t>
                      </a:r>
                      <a:endParaRPr lang="tr-TR" sz="750" b="1" i="0" u="none" strike="noStrike" dirty="0">
                        <a:solidFill>
                          <a:srgbClr val="00B0F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7646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2" name="Tablo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2642222"/>
              </p:ext>
            </p:extLst>
          </p:nvPr>
        </p:nvGraphicFramePr>
        <p:xfrm>
          <a:off x="107500" y="5647903"/>
          <a:ext cx="8928995" cy="7334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9289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</a:t>
                      </a:r>
                      <a:r>
                        <a:rPr lang="tr-TR" sz="10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ütçe</a:t>
                      </a:r>
                      <a:r>
                        <a:rPr lang="tr-TR" sz="1000" b="1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ürü ve fiziki gerçekleşme için aşağıda belirtilen kısaltmaların kullanılması zorunludur.</a:t>
                      </a:r>
                      <a:endParaRPr lang="tr-TR" sz="1000" b="1" u="none" strike="noStrike" dirty="0" smtClean="0">
                        <a:solidFill>
                          <a:srgbClr val="FF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  <a:p>
                      <a:pPr algn="l" fontAlgn="t"/>
                      <a:r>
                        <a:rPr lang="tr-TR" sz="10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ütçe türü</a:t>
                      </a:r>
                      <a:r>
                        <a:rPr lang="tr-TR" sz="1000" b="1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çin</a:t>
                      </a:r>
                      <a:r>
                        <a:rPr lang="tr-TR" sz="10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00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: </a:t>
                      </a:r>
                      <a:r>
                        <a:rPr lang="tr-TR" sz="10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GB (Genel bütçe),  ÖB (Özel bütçe), </a:t>
                      </a:r>
                      <a:r>
                        <a:rPr lang="tr-TR" sz="100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DS </a:t>
                      </a:r>
                      <a:r>
                        <a:rPr lang="tr-TR" sz="10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Döner sermaye),  SG (Sosyal güvenlik kurumu</a:t>
                      </a:r>
                      <a:r>
                        <a:rPr lang="tr-TR" sz="100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),KİT</a:t>
                      </a:r>
                      <a:r>
                        <a:rPr lang="tr-TR" sz="1000" u="none" strike="noStrike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 İşletmeci </a:t>
                      </a:r>
                      <a:r>
                        <a:rPr lang="tr-TR" sz="100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KT),  KİT Özelleştirme</a:t>
                      </a:r>
                      <a:r>
                        <a:rPr lang="tr-TR" sz="1000" u="none" strike="noStrike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 kapsamında (ÖK), </a:t>
                      </a:r>
                      <a:r>
                        <a:rPr lang="tr-TR" sz="100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0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B (İller Bankası), </a:t>
                      </a:r>
                      <a:r>
                        <a:rPr lang="tr-TR" sz="1000" u="none" strike="noStrike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SUKAP (SU),</a:t>
                      </a:r>
                      <a:r>
                        <a:rPr lang="tr-TR" sz="100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İ </a:t>
                      </a:r>
                      <a:r>
                        <a:rPr lang="tr-TR" sz="10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İl Özel İdaresi),  BL (Belediyeler</a:t>
                      </a:r>
                      <a:r>
                        <a:rPr lang="tr-TR" sz="100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),</a:t>
                      </a:r>
                      <a:r>
                        <a:rPr lang="tr-TR" sz="1000" u="none" strike="noStrike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ç Kredi(İÇ), Dış Kredi(DI), Hibe(Hİ),</a:t>
                      </a:r>
                      <a:endParaRPr lang="tr-TR" sz="1000" b="0" i="0" u="none" strike="noStrike" dirty="0" smtClean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000" b="1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çıklamalar için: </a:t>
                      </a:r>
                      <a:r>
                        <a:rPr lang="tr-T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T</a:t>
                      </a:r>
                      <a:r>
                        <a:rPr lang="tr-TR" sz="1000" b="0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: Bitti,  DE: Devam ediyor,  YK: Yarım kaldı,  İA: İhale aşamasında,  HB: Hiç başlamadı.</a:t>
                      </a:r>
                    </a:p>
                    <a:p>
                      <a:pPr algn="l" fontAlgn="t"/>
                      <a:endParaRPr lang="tr-TR" sz="75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" name="Tablo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8331028"/>
              </p:ext>
            </p:extLst>
          </p:nvPr>
        </p:nvGraphicFramePr>
        <p:xfrm>
          <a:off x="35496" y="1052736"/>
          <a:ext cx="9036499" cy="4501742"/>
        </p:xfrm>
        <a:graphic>
          <a:graphicData uri="http://schemas.openxmlformats.org/drawingml/2006/table">
            <a:tbl>
              <a:tblPr>
                <a:tableStyleId>{6E25E649-3F16-4E02-A733-19D2CDBF48F0}</a:tableStyleId>
              </a:tblPr>
              <a:tblGrid>
                <a:gridCol w="3370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39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05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8052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7453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8652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8052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1219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4348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1136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28015">
                  <a:extLst>
                    <a:ext uri="{9D8B030D-6E8A-4147-A177-3AD203B41FA5}">
                      <a16:colId xmlns:a16="http://schemas.microsoft.com/office/drawing/2014/main" val="2055120577"/>
                    </a:ext>
                  </a:extLst>
                </a:gridCol>
                <a:gridCol w="72875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15655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723220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510125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</a:tblGrid>
              <a:tr h="590726"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Sıra </a:t>
                      </a:r>
                      <a:r>
                        <a:rPr lang="tr-TR" sz="1000" b="1" u="none" strike="noStrike" dirty="0" smtClean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No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000" b="1" u="none" strike="noStrike" dirty="0" smtClean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Proje Adı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Proje </a:t>
                      </a:r>
                      <a:r>
                        <a:rPr lang="tr-TR" sz="1000" b="1" u="none" strike="noStrike" dirty="0" smtClean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Numarası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000" b="1" u="none" strike="noStrike" dirty="0" smtClean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Sektörü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Bütçe </a:t>
                      </a:r>
                      <a:r>
                        <a:rPr lang="tr-TR" sz="1000" b="1" u="none" strike="noStrike" dirty="0" smtClean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Türü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Proje </a:t>
                      </a:r>
                      <a:r>
                        <a:rPr lang="tr-TR" sz="1000" b="1" u="none" strike="noStrike" dirty="0" smtClean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Yeri </a:t>
                      </a:r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(İlçe)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Başlama </a:t>
                      </a:r>
                      <a:r>
                        <a:rPr lang="tr-TR" sz="1000" b="1" u="none" strike="noStrike" dirty="0" smtClean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Tarihi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Bitiş </a:t>
                      </a:r>
                      <a:r>
                        <a:rPr lang="tr-TR" sz="1000" b="1" u="none" strike="noStrike" dirty="0" smtClean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Tarihi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Proje tutarı (TL)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Önceki </a:t>
                      </a:r>
                      <a:r>
                        <a:rPr lang="tr-TR" sz="1000" b="1" u="none" strike="noStrike" dirty="0" smtClean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Yıllar </a:t>
                      </a:r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H</a:t>
                      </a:r>
                      <a:r>
                        <a:rPr lang="tr-TR" sz="1000" b="1" u="none" strike="noStrike" dirty="0" smtClean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arcamaları </a:t>
                      </a:r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(TL)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000" b="1" u="none" strike="noStrike" dirty="0" smtClean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017 </a:t>
                      </a:r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Y</a:t>
                      </a:r>
                      <a:r>
                        <a:rPr lang="tr-TR" sz="1000" b="1" u="none" strike="noStrike" dirty="0" smtClean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ılı </a:t>
                      </a:r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Ö</a:t>
                      </a:r>
                      <a:r>
                        <a:rPr lang="tr-TR" sz="1000" b="1" u="none" strike="noStrike" dirty="0" smtClean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deneği </a:t>
                      </a:r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(TL)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000" b="1" u="none" strike="noStrike" dirty="0" smtClean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017 </a:t>
                      </a:r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Y</a:t>
                      </a:r>
                      <a:r>
                        <a:rPr lang="tr-TR" sz="1000" b="1" u="none" strike="noStrike" dirty="0" smtClean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ılı </a:t>
                      </a:r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H</a:t>
                      </a:r>
                      <a:r>
                        <a:rPr lang="tr-TR" sz="1000" b="1" u="none" strike="noStrike" dirty="0" smtClean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arcamaları </a:t>
                      </a:r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(TL)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Toplam </a:t>
                      </a:r>
                      <a:r>
                        <a:rPr lang="tr-TR" sz="1000" b="1" u="none" strike="noStrike" dirty="0" smtClean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Harcama </a:t>
                      </a:r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(TL)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Nakdi </a:t>
                      </a:r>
                      <a:r>
                        <a:rPr lang="tr-TR" sz="1000" b="1" u="none" strike="noStrike" dirty="0" smtClean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Gerçekleşme </a:t>
                      </a:r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(%)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000" b="1" u="none" strike="noStrike" dirty="0" smtClean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Açıklama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918"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918"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5918"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5918"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5918"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5918"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5918"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5918"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8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25918"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9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5918"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0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25918"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1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25918"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">
                  <a:txBody>
                    <a:bodyPr/>
                    <a:lstStyle/>
                    <a:p>
                      <a:pPr algn="l" rtl="0" fontAlgn="ctr"/>
                      <a:r>
                        <a:rPr lang="tr-TR" sz="10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 TOPLAM</a:t>
                      </a:r>
                      <a:endParaRPr lang="tr-TR" sz="1000" b="1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b="1" u="none" strike="noStrike" dirty="0"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3" name="Yuvarlatılmış Dikdörtgen 12"/>
          <p:cNvSpPr/>
          <p:nvPr/>
        </p:nvSpPr>
        <p:spPr>
          <a:xfrm>
            <a:off x="0" y="47843"/>
            <a:ext cx="9143999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 smtClean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 </a:t>
            </a: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jeleri İzleme </a:t>
            </a:r>
            <a:r>
              <a:rPr lang="tr-TR" sz="2000" b="1" kern="0" dirty="0" smtClean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aporu</a:t>
            </a:r>
          </a:p>
          <a:p>
            <a:pPr lvl="0" algn="ctr">
              <a:defRPr/>
            </a:pPr>
            <a:r>
              <a:rPr lang="tr-TR" sz="2000" b="1" kern="0" dirty="0" smtClean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2017 YILI SONU İTİBARİYLE)</a:t>
            </a:r>
            <a:endParaRPr lang="tr-TR" sz="2000" b="1" kern="0" dirty="0">
              <a:solidFill>
                <a:prstClr val="white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4" name="Metin kutusu 13"/>
          <p:cNvSpPr txBox="1"/>
          <p:nvPr/>
        </p:nvSpPr>
        <p:spPr>
          <a:xfrm>
            <a:off x="8137225" y="233440"/>
            <a:ext cx="899592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 smtClean="0"/>
              <a:t>EK-2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657766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Tablo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1443694"/>
              </p:ext>
            </p:extLst>
          </p:nvPr>
        </p:nvGraphicFramePr>
        <p:xfrm>
          <a:off x="107504" y="1021504"/>
          <a:ext cx="4320480" cy="5083537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9697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07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9711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Adı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9711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No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9711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 smtClean="0">
                          <a:effectLst/>
                        </a:rPr>
                        <a:t>Sektörü</a:t>
                      </a:r>
                      <a:r>
                        <a:rPr lang="tr-TR" sz="1050" b="1" u="none" strike="noStrike" baseline="0" dirty="0" smtClean="0">
                          <a:effectLst/>
                        </a:rPr>
                        <a:t> ve Alt Sektörü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9711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</a:t>
                      </a:r>
                      <a:r>
                        <a:rPr lang="tr-TR" sz="1050" b="1" u="none" strike="noStrike" dirty="0" smtClean="0">
                          <a:effectLst/>
                        </a:rPr>
                        <a:t>Yeri (</a:t>
                      </a:r>
                      <a:r>
                        <a:rPr lang="tr-TR" sz="1050" b="1" u="none" strike="noStrike" dirty="0">
                          <a:effectLst/>
                        </a:rPr>
                        <a:t>İlçe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9711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Başlama - Bitiş Tarihi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9711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</a:t>
                      </a:r>
                      <a:r>
                        <a:rPr lang="tr-TR" sz="1050" b="1" u="none" strike="noStrike" dirty="0" smtClean="0">
                          <a:effectLst/>
                        </a:rPr>
                        <a:t>Bedeli (</a:t>
                      </a:r>
                      <a:r>
                        <a:rPr lang="tr-TR" sz="1050" b="1" u="none" strike="noStrike" dirty="0">
                          <a:effectLst/>
                        </a:rPr>
                        <a:t>TL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059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Önceki Yıllar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Harcamaları (</a:t>
                      </a:r>
                      <a:r>
                        <a:rPr lang="tr-TR" sz="1050" b="1" u="none" strike="noStrike" kern="1200" dirty="0">
                          <a:effectLst/>
                        </a:rPr>
                        <a:t>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0595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7 Yıl İçi Harcama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971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 smtClean="0">
                          <a:effectLst/>
                        </a:rPr>
                        <a:t>2017</a:t>
                      </a:r>
                      <a:r>
                        <a:rPr lang="tr-TR" sz="1050" b="1" u="none" strike="noStrike" kern="1200" baseline="0" dirty="0" smtClean="0">
                          <a:effectLst/>
                        </a:rPr>
                        <a:t>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Yılı Ödeneği (</a:t>
                      </a:r>
                      <a:r>
                        <a:rPr lang="tr-TR" sz="1050" b="1" u="none" strike="noStrike" kern="1200" dirty="0">
                          <a:effectLst/>
                        </a:rPr>
                        <a:t>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971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Nakdi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971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Fiziki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777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Projenin Bugünkü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Durumu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95501"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tr-TR" sz="1050" b="1" u="none" strike="noStrike" kern="1200" dirty="0" smtClean="0">
                          <a:effectLst/>
                        </a:rPr>
                        <a:t>Proje</a:t>
                      </a:r>
                      <a:r>
                        <a:rPr lang="tr-TR" sz="1050" b="1" u="none" strike="noStrike" kern="1200" baseline="0" dirty="0" smtClean="0">
                          <a:effectLst/>
                        </a:rPr>
                        <a:t> Özet Bilgisi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91675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7" name="Tablo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118078"/>
              </p:ext>
            </p:extLst>
          </p:nvPr>
        </p:nvGraphicFramePr>
        <p:xfrm>
          <a:off x="4618484" y="1007601"/>
          <a:ext cx="4320480" cy="5097441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4320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60797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6644">
                <a:tc>
                  <a:txBody>
                    <a:bodyPr/>
                    <a:lstStyle/>
                    <a:p>
                      <a:pPr algn="ctr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5220072" y="2073661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 smtClean="0">
                <a:solidFill>
                  <a:schemeClr val="bg1"/>
                </a:solidFill>
              </a:rPr>
              <a:t>PROJEYE AİT GÖRSEL UNSUR EKLEYİNİZ</a:t>
            </a:r>
            <a:endParaRPr lang="tr-TR" sz="1600" dirty="0">
              <a:solidFill>
                <a:schemeClr val="bg1"/>
              </a:solidFill>
            </a:endParaRPr>
          </a:p>
        </p:txBody>
      </p:sp>
      <p:graphicFrame>
        <p:nvGraphicFramePr>
          <p:cNvPr id="20" name="Tablo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3022136"/>
              </p:ext>
            </p:extLst>
          </p:nvPr>
        </p:nvGraphicFramePr>
        <p:xfrm>
          <a:off x="107504" y="6165304"/>
          <a:ext cx="8831460" cy="288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314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BU SLAYT</a:t>
                      </a:r>
                      <a:r>
                        <a:rPr lang="tr-TR" sz="1000" b="1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ER BİR PROJE İÇİN ÇOĞALTINIZ.</a:t>
                      </a:r>
                      <a:endParaRPr lang="tr-TR" sz="75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6" name="Yuvarlatılmış Dikdörtgen 15"/>
          <p:cNvSpPr/>
          <p:nvPr/>
        </p:nvSpPr>
        <p:spPr>
          <a:xfrm>
            <a:off x="1" y="44624"/>
            <a:ext cx="9134474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jeler İtibariyle Bilgi , Açıklama ve Görseller</a:t>
            </a:r>
          </a:p>
        </p:txBody>
      </p:sp>
      <p:sp>
        <p:nvSpPr>
          <p:cNvPr id="18" name="Metin kutusu 17"/>
          <p:cNvSpPr txBox="1"/>
          <p:nvPr/>
        </p:nvSpPr>
        <p:spPr>
          <a:xfrm>
            <a:off x="8039372" y="218388"/>
            <a:ext cx="899592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 smtClean="0"/>
              <a:t>EK-3</a:t>
            </a:r>
            <a:endParaRPr lang="tr-TR" dirty="0"/>
          </a:p>
        </p:txBody>
      </p:sp>
      <p:sp>
        <p:nvSpPr>
          <p:cNvPr id="19" name="Metin kutusu 18"/>
          <p:cNvSpPr txBox="1"/>
          <p:nvPr/>
        </p:nvSpPr>
        <p:spPr>
          <a:xfrm>
            <a:off x="5220072" y="4140369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 smtClean="0">
                <a:solidFill>
                  <a:schemeClr val="bg1"/>
                </a:solidFill>
              </a:rPr>
              <a:t>PROJEYE AİT GÖRSEL UNSUR EKLEYİNİZ</a:t>
            </a:r>
            <a:endParaRPr lang="tr-TR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893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19472" y="151385"/>
            <a:ext cx="9144000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030876"/>
              </p:ext>
            </p:extLst>
          </p:nvPr>
        </p:nvGraphicFramePr>
        <p:xfrm>
          <a:off x="107504" y="1052737"/>
          <a:ext cx="9036496" cy="5400867"/>
        </p:xfrm>
        <a:graphic>
          <a:graphicData uri="http://schemas.openxmlformats.org/drawingml/2006/table">
            <a:tbl>
              <a:tblPr/>
              <a:tblGrid>
                <a:gridCol w="90364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e Başlanamama </a:t>
                      </a:r>
                      <a:r>
                        <a:rPr lang="tr-TR" sz="1200" b="1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ve</a:t>
                      </a:r>
                      <a:r>
                        <a:rPr lang="tr-TR" sz="1200" b="1" i="0" u="none" strike="noStrike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amamlanamama </a:t>
                      </a:r>
                      <a:r>
                        <a:rPr lang="tr-TR" sz="1200" b="1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edenleri</a:t>
                      </a:r>
                      <a:endParaRPr lang="tr-TR" sz="1200" b="1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  <a:endParaRPr lang="tr-TR" sz="1200" b="0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Çözümlenmesi İstenen Sorun ve Darboğazla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orun ve Darboğaz Nedenleri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lınması İstenen Önlemle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90511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ctr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 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7568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200" b="1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</a:t>
                      </a:r>
                      <a:r>
                        <a:rPr lang="tr-TR" sz="1200" b="1" i="0" u="none" strike="noStrike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ektiren Kurum/Kuruluşları</a:t>
                      </a:r>
                      <a:endParaRPr lang="tr-TR" sz="1200" b="0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</a:t>
                      </a:r>
                      <a:endParaRPr lang="tr-TR" sz="1200" b="0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1" name="Dikdörtgen 10"/>
          <p:cNvSpPr/>
          <p:nvPr/>
        </p:nvSpPr>
        <p:spPr>
          <a:xfrm>
            <a:off x="323528" y="300271"/>
            <a:ext cx="7932818" cy="383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</a:pPr>
            <a:r>
              <a:rPr lang="tr-TR" b="1" kern="0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orunlar, İhtiyaçlar ve Koordinasyon Gerektiren Hususlar</a:t>
            </a:r>
            <a:endParaRPr lang="tr-TR" b="1" kern="0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11 Metin kutusu"/>
          <p:cNvSpPr txBox="1"/>
          <p:nvPr/>
        </p:nvSpPr>
        <p:spPr>
          <a:xfrm>
            <a:off x="662382" y="1340768"/>
            <a:ext cx="3929090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t"/>
            <a:r>
              <a:rPr lang="tr-TR" sz="900" b="1" dirty="0" smtClean="0">
                <a:solidFill>
                  <a:srgbClr val="FF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NOT: İlgili proje  numarası ve adı belirtilmesi gerekmektedir.</a:t>
            </a:r>
            <a:endParaRPr lang="tr-TR" sz="900" b="1" dirty="0">
              <a:solidFill>
                <a:srgbClr val="FF000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Metin kutusu 12"/>
          <p:cNvSpPr txBox="1"/>
          <p:nvPr/>
        </p:nvSpPr>
        <p:spPr>
          <a:xfrm>
            <a:off x="8047364" y="314381"/>
            <a:ext cx="753852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 smtClean="0"/>
              <a:t>EK-4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202122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35496" y="165721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43163" y="328717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 smtClean="0">
                <a:solidFill>
                  <a:prstClr val="white"/>
                </a:solidFill>
                <a:latin typeface="Arial" charset="0"/>
              </a:rPr>
              <a:t>Sektörler ve Alt Sektörleri</a:t>
            </a:r>
            <a:endParaRPr lang="tr-TR" b="1" kern="0" dirty="0">
              <a:solidFill>
                <a:prstClr val="white"/>
              </a:solidFill>
              <a:latin typeface="Arial" charset="0"/>
            </a:endParaRPr>
          </a:p>
        </p:txBody>
      </p:sp>
      <p:graphicFrame>
        <p:nvGraphicFramePr>
          <p:cNvPr id="13" name="12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3282298"/>
              </p:ext>
            </p:extLst>
          </p:nvPr>
        </p:nvGraphicFramePr>
        <p:xfrm>
          <a:off x="428596" y="1071546"/>
          <a:ext cx="2214578" cy="531814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57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73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1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 Tarım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lam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itkisel Ürü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yv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 Ürün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Orm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2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 Madencilik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adenci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mü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m Petrol ve Tabii Gaz Üretim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etal Dışı Made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3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 İmalat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Gıd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ütün ve </a:t>
                      </a:r>
                      <a:r>
                        <a:rPr lang="tr-TR" sz="900" u="none" strike="noStrike" dirty="0" smtClean="0">
                          <a:latin typeface="+mn-lt"/>
                        </a:rPr>
                        <a:t>Mamul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okuma ve Giyim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asım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imy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-Çe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siz Makine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li Makin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yolu Taşıt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tandardizasyon ve Kalit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4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  Enerji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ermik 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 smtClean="0">
                          <a:latin typeface="+mn-lt"/>
                        </a:rPr>
                        <a:t>Hidroelektrik </a:t>
                      </a:r>
                      <a:r>
                        <a:rPr lang="tr-TR" sz="900" u="none" strike="noStrike" dirty="0">
                          <a:latin typeface="+mn-lt"/>
                        </a:rPr>
                        <a:t>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İleti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ağıtı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Şehir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y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İşletme Grubu Yatırımları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Makine ve Techizat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Çeşitli Etütler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</a:tbl>
          </a:graphicData>
        </a:graphic>
      </p:graphicFrame>
      <p:graphicFrame>
        <p:nvGraphicFramePr>
          <p:cNvPr id="15" name="14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5017724"/>
              </p:ext>
            </p:extLst>
          </p:nvPr>
        </p:nvGraphicFramePr>
        <p:xfrm>
          <a:off x="3000364" y="1071546"/>
          <a:ext cx="2214578" cy="5375129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32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17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5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 Ulaştırma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mir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niz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v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ar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oru Hatt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Kent İçi </a:t>
                      </a:r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Ulaşı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be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Radyo Televiz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Otoyol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6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6302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7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Konut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onut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8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Eğitim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lköğretim ve Gen. Orta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Mesleki ve Teknik Eği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üksek 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ültü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çlik ve Beden Eğitimi Spo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9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Sağlık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ağlık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639344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</a:tbl>
          </a:graphicData>
        </a:graphic>
      </p:graphicFrame>
      <p:graphicFrame>
        <p:nvGraphicFramePr>
          <p:cNvPr id="16" name="15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3627306"/>
              </p:ext>
            </p:extLst>
          </p:nvPr>
        </p:nvGraphicFramePr>
        <p:xfrm>
          <a:off x="5429256" y="1071546"/>
          <a:ext cx="2815152" cy="538179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865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286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2154">
                <a:tc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Diğer</a:t>
                      </a:r>
                      <a:r>
                        <a:rPr lang="tr-TR" sz="900" b="1" i="0" u="none" strike="noStrike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 Kamu Hizmetleri (DKH-İktisadı+DKH-Sosyal)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10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DKH-İktisadi</a:t>
                      </a:r>
                      <a:endParaRPr lang="tr-TR" sz="900" b="0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el İda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üvenlik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dalet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rita ve Tapu Kadastro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icari Hizm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üzenleyici ve Denetleyici Kur.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11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DKH-Sosyal</a:t>
                      </a:r>
                      <a:endParaRPr lang="tr-TR" sz="900" b="0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çme Suyu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analizas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ırsal Planla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elediye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erleşme-Şehi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Çev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Esnaf Sanatkar KSS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eknolojik Araştırma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osyal Hizmetler ve Yardım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f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273360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8028447" y="333933"/>
            <a:ext cx="763789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 smtClean="0"/>
              <a:t>EK-5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4060833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 3"/>
          <p:cNvGrpSpPr/>
          <p:nvPr/>
        </p:nvGrpSpPr>
        <p:grpSpPr>
          <a:xfrm>
            <a:off x="35496" y="148883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85787" y="329361"/>
            <a:ext cx="74746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Koordinasyon Kurulu </a:t>
            </a:r>
            <a:r>
              <a:rPr lang="tr-TR" b="1" kern="0" dirty="0" smtClean="0">
                <a:solidFill>
                  <a:prstClr val="white"/>
                </a:solidFill>
                <a:latin typeface="Arial" charset="0"/>
              </a:rPr>
              <a:t>İçin </a:t>
            </a: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İletişim Bilgileri</a:t>
            </a:r>
          </a:p>
        </p:txBody>
      </p:sp>
      <p:graphicFrame>
        <p:nvGraphicFramePr>
          <p:cNvPr id="2" name="Tablo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053250"/>
              </p:ext>
            </p:extLst>
          </p:nvPr>
        </p:nvGraphicFramePr>
        <p:xfrm>
          <a:off x="395536" y="916735"/>
          <a:ext cx="8344734" cy="5457143"/>
        </p:xfrm>
        <a:graphic>
          <a:graphicData uri="http://schemas.openxmlformats.org/drawingml/2006/table">
            <a:tbl>
              <a:tblPr/>
              <a:tblGrid>
                <a:gridCol w="18151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29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URUM AD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00" b="0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40">
                <a:tc gridSpan="2"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L KOORDİNASYON KURULU BİLGİ VE İLETİŞİ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282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</a:t>
                      </a:r>
                      <a:r>
                        <a:rPr lang="tr-TR" sz="1000" b="1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ersonel</a:t>
                      </a:r>
                      <a:endParaRPr lang="tr-TR" sz="1000" b="1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186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</a:t>
                      </a:r>
                      <a:r>
                        <a:rPr lang="tr-TR" sz="1000" b="1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Hazırlayan Kurum Görevlisinin</a:t>
                      </a:r>
                      <a:r>
                        <a:rPr lang="tr-TR" sz="1000" b="1" i="0" u="none" strike="noStrike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zinli Olduğu Hallerde Yerine Vekalet Edecek Personel</a:t>
                      </a:r>
                      <a:r>
                        <a:rPr lang="tr-TR" sz="1000" b="1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endParaRPr lang="tr-TR" sz="1000" b="1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48510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leri Onaylayan Kurum Yetkilisi/Müdürü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12" name="Metin kutusu 11"/>
          <p:cNvSpPr txBox="1"/>
          <p:nvPr/>
        </p:nvSpPr>
        <p:spPr>
          <a:xfrm>
            <a:off x="8047364" y="314381"/>
            <a:ext cx="77310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 smtClean="0"/>
              <a:t>EK-6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507466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heme/theme1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65</TotalTime>
  <Words>743</Words>
  <Application>Microsoft Office PowerPoint</Application>
  <PresentationFormat>Ekran Gösterisi (4:3)</PresentationFormat>
  <Paragraphs>436</Paragraphs>
  <Slides>7</Slides>
  <Notes>2</Notes>
  <HiddenSlides>0</HiddenSlides>
  <MMClips>0</MMClips>
  <ScaleCrop>false</ScaleCrop>
  <HeadingPairs>
    <vt:vector size="6" baseType="variant">
      <vt:variant>
        <vt:lpstr>Kullanılan Yazı Tipleri</vt:lpstr>
      </vt:variant>
      <vt:variant>
        <vt:i4>6</vt:i4>
      </vt:variant>
      <vt:variant>
        <vt:lpstr>Tema</vt:lpstr>
      </vt:variant>
      <vt:variant>
        <vt:i4>1</vt:i4>
      </vt:variant>
      <vt:variant>
        <vt:lpstr>Slayt Başlıkları</vt:lpstr>
      </vt:variant>
      <vt:variant>
        <vt:i4>7</vt:i4>
      </vt:variant>
    </vt:vector>
  </HeadingPairs>
  <TitlesOfParts>
    <vt:vector size="14" baseType="lpstr">
      <vt:lpstr>Arial</vt:lpstr>
      <vt:lpstr>Arial Tur</vt:lpstr>
      <vt:lpstr>Calibri</vt:lpstr>
      <vt:lpstr>Segoe UI</vt:lpstr>
      <vt:lpstr>Segoe UI Semibold</vt:lpstr>
      <vt:lpstr>Times New Roman</vt:lpstr>
      <vt:lpstr>Ofis Teması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SONGULKOZBERI</dc:creator>
  <cp:lastModifiedBy>Vahit COMART</cp:lastModifiedBy>
  <cp:revision>211</cp:revision>
  <cp:lastPrinted>2017-09-05T10:25:42Z</cp:lastPrinted>
  <dcterms:created xsi:type="dcterms:W3CDTF">2013-12-10T10:55:21Z</dcterms:created>
  <dcterms:modified xsi:type="dcterms:W3CDTF">2018-03-01T06:17:20Z</dcterms:modified>
</cp:coreProperties>
</file>